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5"/>
  </p:notesMasterIdLst>
  <p:handoutMasterIdLst>
    <p:handoutMasterId r:id="rId26"/>
  </p:handoutMasterIdLst>
  <p:sldIdLst>
    <p:sldId id="289" r:id="rId5"/>
    <p:sldId id="294" r:id="rId6"/>
    <p:sldId id="261" r:id="rId7"/>
    <p:sldId id="263" r:id="rId8"/>
    <p:sldId id="296" r:id="rId9"/>
    <p:sldId id="298" r:id="rId10"/>
    <p:sldId id="297" r:id="rId11"/>
    <p:sldId id="305" r:id="rId12"/>
    <p:sldId id="300" r:id="rId13"/>
    <p:sldId id="302" r:id="rId14"/>
    <p:sldId id="307" r:id="rId15"/>
    <p:sldId id="306" r:id="rId16"/>
    <p:sldId id="304" r:id="rId17"/>
    <p:sldId id="308" r:id="rId18"/>
    <p:sldId id="310" r:id="rId19"/>
    <p:sldId id="309" r:id="rId20"/>
    <p:sldId id="313" r:id="rId21"/>
    <p:sldId id="295" r:id="rId22"/>
    <p:sldId id="312" r:id="rId23"/>
    <p:sldId id="279" r:id="rId24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0" autoAdjust="0"/>
    <p:restoredTop sz="94660"/>
  </p:normalViewPr>
  <p:slideViewPr>
    <p:cSldViewPr snapToGrid="0" showGuides="1">
      <p:cViewPr varScale="1">
        <p:scale>
          <a:sx n="55" d="100"/>
          <a:sy n="55" d="100"/>
        </p:scale>
        <p:origin x="1554" y="66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-3270" y="-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7/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7/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364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096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460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530/ 41080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28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6"/>
          <a:stretch/>
        </p:blipFill>
        <p:spPr>
          <a:xfrm>
            <a:off x="-1" y="2"/>
            <a:ext cx="9144001" cy="637698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0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6"/>
            <a:ext cx="8211312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8211312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3857625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28032" y="1865376"/>
            <a:ext cx="3858768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3857625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8032" y="4169664"/>
            <a:ext cx="3858768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466344" y="1481328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828032" y="1481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466344" y="3767328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828032" y="3767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393192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481328"/>
            <a:ext cx="3904488" cy="34747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3613" y="1892808"/>
            <a:ext cx="390448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393192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5249" y="1481328"/>
            <a:ext cx="390448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5249" y="1901952"/>
            <a:ext cx="390448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393192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377440"/>
            <a:ext cx="3904488" cy="369417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19" b="20415"/>
          <a:stretch/>
        </p:blipFill>
        <p:spPr>
          <a:xfrm>
            <a:off x="-2" y="-1"/>
            <a:ext cx="9144000" cy="3623715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" y="3246120"/>
            <a:ext cx="9143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935307" y="6225331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259" y="4375099"/>
            <a:ext cx="2586276" cy="75800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25" y="4309031"/>
            <a:ext cx="2052261" cy="82407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4419600" y="3884028"/>
            <a:ext cx="0" cy="160866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9144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38"/>
            <a:ext cx="9144000" cy="894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06" y="2070100"/>
            <a:ext cx="3567662" cy="10456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971" y="1927528"/>
            <a:ext cx="2959100" cy="1188205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419600" y="1659469"/>
            <a:ext cx="0" cy="160866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935307" y="6208398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4"/>
            <a:ext cx="9144001" cy="637699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698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4"/>
            <a:ext cx="9144000" cy="6378406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79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6"/>
            <a:ext cx="8211312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799"/>
            <a:ext cx="9144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2"/>
            <a:ext cx="9144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8211312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8211312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27448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61962" y="6192078"/>
            <a:ext cx="8319275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461962" y="6252068"/>
            <a:ext cx="8319275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/>
          <p:cNvSpPr/>
          <p:nvPr userDrawn="1"/>
        </p:nvSpPr>
        <p:spPr bwMode="white">
          <a:xfrm>
            <a:off x="8699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6516818"/>
            <a:ext cx="1097280" cy="18471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8211312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8211312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53968" y="6510528"/>
            <a:ext cx="922566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A803001A-AC4A-446F-835C-DFDC41A5F4BF}" type="datetime1">
              <a:rPr lang="en-US" smtClean="0"/>
              <a:t>7/6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23616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37486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2" y="6470668"/>
            <a:ext cx="747468" cy="30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9" r:id="rId2"/>
    <p:sldLayoutId id="2147483720" r:id="rId3"/>
    <p:sldLayoutId id="2147483721" r:id="rId4"/>
    <p:sldLayoutId id="2147483684" r:id="rId5"/>
    <p:sldLayoutId id="2147483704" r:id="rId6"/>
    <p:sldLayoutId id="2147483685" r:id="rId7"/>
    <p:sldLayoutId id="2147483686" r:id="rId8"/>
    <p:sldLayoutId id="2147483687" r:id="rId9"/>
    <p:sldLayoutId id="2147483688" r:id="rId10"/>
    <p:sldLayoutId id="2147483699" r:id="rId11"/>
    <p:sldLayoutId id="2147483705" r:id="rId12"/>
    <p:sldLayoutId id="2147483700" r:id="rId13"/>
    <p:sldLayoutId id="2147483701" r:id="rId14"/>
    <p:sldLayoutId id="2147483718" r:id="rId15"/>
    <p:sldLayoutId id="2147483702" r:id="rId16"/>
    <p:sldLayoutId id="2147483703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harlotte Roiger</a:t>
            </a:r>
            <a:endParaRPr lang="en-US" dirty="0"/>
          </a:p>
          <a:p>
            <a:r>
              <a:rPr lang="en-US" dirty="0" smtClean="0"/>
              <a:t>Undergraduate Research Intern</a:t>
            </a:r>
            <a:endParaRPr lang="en-US" dirty="0"/>
          </a:p>
          <a:p>
            <a:r>
              <a:rPr lang="en-US" dirty="0" smtClean="0"/>
              <a:t>Fundamental Sentinel Unit</a:t>
            </a:r>
            <a:endParaRPr lang="en-US" dirty="0"/>
          </a:p>
          <a:p>
            <a:r>
              <a:rPr lang="en-US" dirty="0" smtClean="0"/>
              <a:t>07/10/2017</a:t>
            </a:r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OME TITLE OM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8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6344" y="1199974"/>
            <a:ext cx="8211312" cy="4636008"/>
          </a:xfrm>
        </p:spPr>
        <p:txBody>
          <a:bodyPr/>
          <a:lstStyle/>
          <a:p>
            <a:r>
              <a:rPr lang="en-US" dirty="0" smtClean="0"/>
              <a:t>Latitude is a proxy for environmental factors such as temperature and precipita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44" y="2743200"/>
            <a:ext cx="3874711" cy="23912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2944" y="2743200"/>
            <a:ext cx="3874712" cy="239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8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8665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87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90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36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5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81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2: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/>
          </a:p>
        </p:txBody>
      </p:sp>
      <p:sp>
        <p:nvSpPr>
          <p:cNvPr id="9" name="TextBox 8"/>
          <p:cNvSpPr txBox="1"/>
          <p:nvPr/>
        </p:nvSpPr>
        <p:spPr>
          <a:xfrm>
            <a:off x="6084277" y="2514600"/>
            <a:ext cx="23915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ative Status:</a:t>
            </a:r>
          </a:p>
          <a:p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6084277" y="2901462"/>
            <a:ext cx="439615" cy="2594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084276" y="3288324"/>
            <a:ext cx="439615" cy="259469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646985" y="2831122"/>
            <a:ext cx="1582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ativ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721722" y="3233392"/>
            <a:ext cx="1213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bsent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3" y="1132058"/>
            <a:ext cx="5371747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0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/>
              <a:t>Hoekman, D., Y. P. Springer, C. M. Barker, R. Barrera, M. S. Blackmore, W. E. Bradshaw, D. H. Foley, H. S. Ginsberg, M. H. Hayden, C. M. Holzapfel, S. A. Juliano, L. D. Kramer, S. L. LaDeau, T. P. Livdahl, C. G. Moore, R. S. Nasci, W. K. Reisen, and H. M. Savage. 2016. Design for mosquito abundance, diversity, and phenology sampling within the National Ecological Observatory Network. Ecosphere 7:1–13.</a:t>
            </a:r>
          </a:p>
          <a:p>
            <a:pPr marL="0" indent="0">
              <a:buNone/>
            </a:pPr>
            <a:r>
              <a:rPr lang="en-US" sz="1400" dirty="0" err="1"/>
              <a:t>Jetz</a:t>
            </a:r>
            <a:r>
              <a:rPr lang="en-US" sz="1400" dirty="0"/>
              <a:t>, W., and C. </a:t>
            </a:r>
            <a:r>
              <a:rPr lang="en-US" sz="1400" dirty="0" err="1"/>
              <a:t>Rahbek</a:t>
            </a:r>
            <a:r>
              <a:rPr lang="en-US" sz="1400" dirty="0"/>
              <a:t>. 2001. Geometric constraints explain much of the species richness pattern in African birds. Proceedings of the National Academy of Sciences 98:5661–5666.</a:t>
            </a:r>
          </a:p>
          <a:p>
            <a:pPr marL="0" indent="0">
              <a:buNone/>
            </a:pPr>
            <a:r>
              <a:rPr lang="en-US" sz="1400" dirty="0"/>
              <a:t>Mora, C., D. R. Robertson, Camilo Mora, and D. Ross Robertson. 2005. Causes of Latitudinal Gradients in Species Richness : a Test With Fishes of the Tropical Eastern Pacific. America 86:1771–1782.</a:t>
            </a:r>
          </a:p>
          <a:p>
            <a:pPr marL="0" indent="0">
              <a:buNone/>
            </a:pPr>
            <a:r>
              <a:rPr lang="en-US" sz="1400" dirty="0" err="1"/>
              <a:t>Rochlin</a:t>
            </a:r>
            <a:r>
              <a:rPr lang="en-US" sz="1400" dirty="0"/>
              <a:t>, I., D. V. </a:t>
            </a:r>
            <a:r>
              <a:rPr lang="en-US" sz="1400" dirty="0" err="1"/>
              <a:t>Ninivaggi</a:t>
            </a:r>
            <a:r>
              <a:rPr lang="en-US" sz="1400" dirty="0"/>
              <a:t>, M. L. Hutchinson, and A. </a:t>
            </a:r>
            <a:r>
              <a:rPr lang="en-US" sz="1400" dirty="0" err="1"/>
              <a:t>Farajollahi</a:t>
            </a:r>
            <a:r>
              <a:rPr lang="en-US" sz="1400" dirty="0"/>
              <a:t>. 2013. Climate Change and Range Expansion of the Asian Tiger Mosquito (</a:t>
            </a:r>
            <a:r>
              <a:rPr lang="en-US" sz="1400" dirty="0" err="1"/>
              <a:t>Aedes</a:t>
            </a:r>
            <a:r>
              <a:rPr lang="en-US" sz="1400" dirty="0"/>
              <a:t> </a:t>
            </a:r>
            <a:r>
              <a:rPr lang="en-US" sz="1400" dirty="0" err="1"/>
              <a:t>albopictus</a:t>
            </a:r>
            <a:r>
              <a:rPr lang="en-US" sz="1400" dirty="0"/>
              <a:t>) in Northeastern USA: Implications for Public Health Practitioners. </a:t>
            </a:r>
            <a:r>
              <a:rPr lang="en-US" sz="1400" dirty="0" err="1"/>
              <a:t>PLoS</a:t>
            </a:r>
            <a:r>
              <a:rPr lang="en-US" sz="1400" dirty="0"/>
              <a:t> ONE 8:1–9.</a:t>
            </a:r>
          </a:p>
          <a:p>
            <a:pPr marL="0" indent="0">
              <a:buNone/>
            </a:pPr>
            <a:endParaRPr lang="en-US" sz="1400" i="1" dirty="0"/>
          </a:p>
          <a:p>
            <a:pPr marL="0" indent="0">
              <a:buNone/>
            </a:pPr>
            <a:endParaRPr lang="en-US" sz="1400" i="1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bliograph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009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1800" i="1" dirty="0"/>
              <a:t>Bryant, P. J. 2007. Western Encephalitis Mosquito. Natural History of Orange County, California and Nearby Places. University of California, Irvine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i="1" dirty="0" err="1"/>
              <a:t>Gathany</a:t>
            </a:r>
            <a:r>
              <a:rPr lang="en-US" sz="1800" i="1" dirty="0"/>
              <a:t>, J. 2002. Asian tiger mosquito, </a:t>
            </a:r>
            <a:r>
              <a:rPr lang="en-US" sz="1800" i="1" dirty="0" err="1"/>
              <a:t>Aedes</a:t>
            </a:r>
            <a:r>
              <a:rPr lang="en-US" sz="1800" i="1" dirty="0"/>
              <a:t> </a:t>
            </a:r>
            <a:r>
              <a:rPr lang="en-US" sz="1800" i="1" dirty="0" err="1"/>
              <a:t>albopicts</a:t>
            </a:r>
            <a:r>
              <a:rPr lang="en-US" sz="1800" i="1" dirty="0"/>
              <a:t>, beginning its blood-meal. Center for Disease Control and Prevention's Public Health Image Library. Center for Disease Control and Prevention.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83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Special thanks to Katie Levan and Cody Flagg for providing mentorship, resources, and coding expertise.</a:t>
            </a:r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14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tudy Mosquitoes?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Mosquitoes are key members of both aquatic and terrestrial food chains </a:t>
            </a:r>
          </a:p>
          <a:p>
            <a:r>
              <a:rPr lang="en-US" dirty="0" smtClean="0"/>
              <a:t>Mosquitoes are known vectors for human diseases</a:t>
            </a:r>
            <a:r>
              <a:rPr lang="en-US" dirty="0" smtClean="0"/>
              <a:t> </a:t>
            </a:r>
            <a:r>
              <a:rPr lang="en-US" dirty="0"/>
              <a:t>(</a:t>
            </a:r>
            <a:r>
              <a:rPr lang="en-US" dirty="0" err="1"/>
              <a:t>Rochlin</a:t>
            </a:r>
            <a:r>
              <a:rPr lang="en-US" dirty="0"/>
              <a:t> et al. 2013)</a:t>
            </a:r>
            <a:endParaRPr lang="en-US" dirty="0" smtClean="0"/>
          </a:p>
          <a:p>
            <a:r>
              <a:rPr lang="en-US" dirty="0" smtClean="0"/>
              <a:t>A useful taxon for studying the impacts of climate change (Hoekman et al. 2016)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545" y="1481328"/>
            <a:ext cx="2781688" cy="2076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6597" y="3655448"/>
            <a:ext cx="2762636" cy="222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42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and Project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oal of Project: Create a data tutorial that allows researchers to </a:t>
            </a:r>
            <a:r>
              <a:rPr lang="en-US" dirty="0" smtClean="0"/>
              <a:t>engage with NEON data</a:t>
            </a:r>
            <a:endParaRPr lang="en-US" dirty="0" smtClean="0"/>
          </a:p>
          <a:p>
            <a:r>
              <a:rPr lang="en-US" dirty="0" smtClean="0"/>
              <a:t>Two avenues of exploration</a:t>
            </a:r>
            <a:r>
              <a:rPr lang="en-US" dirty="0" smtClean="0"/>
              <a:t>:</a:t>
            </a:r>
            <a:endParaRPr lang="en-US" dirty="0"/>
          </a:p>
          <a:p>
            <a:pPr lvl="1"/>
            <a:r>
              <a:rPr lang="en-US" dirty="0" smtClean="0"/>
              <a:t>Vignette 1: Species richness over a latitudinal </a:t>
            </a:r>
            <a:r>
              <a:rPr lang="en-US" dirty="0" smtClean="0"/>
              <a:t>gradient</a:t>
            </a:r>
          </a:p>
          <a:p>
            <a:pPr lvl="2"/>
            <a:r>
              <a:rPr lang="en-US" dirty="0" smtClean="0"/>
              <a:t>Latitudinal diversity gradients (LDGs) have been observed in other species but little work has been done on mosquitoes </a:t>
            </a:r>
            <a:r>
              <a:rPr lang="en-US" dirty="0"/>
              <a:t>(</a:t>
            </a:r>
            <a:r>
              <a:rPr lang="en-US" dirty="0" err="1"/>
              <a:t>Jetz</a:t>
            </a:r>
            <a:r>
              <a:rPr lang="en-US" dirty="0"/>
              <a:t> and </a:t>
            </a:r>
            <a:r>
              <a:rPr lang="en-US" dirty="0" err="1"/>
              <a:t>Rahbek</a:t>
            </a:r>
            <a:r>
              <a:rPr lang="en-US" dirty="0"/>
              <a:t> 2001, Mora et al. 2005)</a:t>
            </a:r>
            <a:endParaRPr lang="en-US" dirty="0" smtClean="0"/>
          </a:p>
          <a:p>
            <a:pPr lvl="1"/>
            <a:r>
              <a:rPr lang="en-US" dirty="0" smtClean="0"/>
              <a:t>Vignette </a:t>
            </a:r>
            <a:r>
              <a:rPr lang="en-US" dirty="0" smtClean="0"/>
              <a:t>2: Julian date of observation for </a:t>
            </a:r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endParaRPr lang="en-US" i="1" dirty="0" smtClean="0"/>
          </a:p>
          <a:p>
            <a:pPr lvl="2"/>
            <a:r>
              <a:rPr lang="en-US" i="1" dirty="0" err="1" smtClean="0"/>
              <a:t>Culex</a:t>
            </a:r>
            <a:r>
              <a:rPr lang="en-US" i="1" dirty="0" smtClean="0"/>
              <a:t> </a:t>
            </a:r>
            <a:r>
              <a:rPr lang="en-US" i="1" dirty="0" err="1" smtClean="0"/>
              <a:t>tarsalis</a:t>
            </a:r>
            <a:r>
              <a:rPr lang="en-US" i="1" dirty="0" smtClean="0"/>
              <a:t> </a:t>
            </a:r>
            <a:r>
              <a:rPr lang="en-US" dirty="0" smtClean="0"/>
              <a:t>is a known carrier of diseases such as West Nile Virus</a:t>
            </a:r>
          </a:p>
          <a:p>
            <a:pPr lvl="2"/>
            <a:r>
              <a:rPr lang="en-US" dirty="0" smtClean="0"/>
              <a:t>Possibility of changes in date of observation due to biotic factors</a:t>
            </a:r>
            <a:endParaRPr lang="en-US" dirty="0" smtClean="0"/>
          </a:p>
          <a:p>
            <a:pPr marL="287337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leaning Methods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Initial Project Challenges:</a:t>
            </a:r>
          </a:p>
          <a:p>
            <a:pPr lvl="1"/>
            <a:r>
              <a:rPr lang="en-US" dirty="0"/>
              <a:t>Obtaining location information from NEON </a:t>
            </a:r>
          </a:p>
          <a:p>
            <a:pPr lvl="1"/>
            <a:r>
              <a:rPr lang="en-US" dirty="0"/>
              <a:t>Combining data frames</a:t>
            </a:r>
          </a:p>
          <a:p>
            <a:pPr lvl="1"/>
            <a:r>
              <a:rPr lang="en-US" dirty="0"/>
              <a:t>Filtering data based on certain criteria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Methods for addressing challenges:</a:t>
            </a:r>
          </a:p>
          <a:p>
            <a:pPr lvl="1"/>
            <a:r>
              <a:rPr lang="en-US" dirty="0" err="1" smtClean="0"/>
              <a:t>lapply</a:t>
            </a:r>
            <a:endParaRPr lang="en-US" dirty="0"/>
          </a:p>
          <a:p>
            <a:pPr lvl="1"/>
            <a:r>
              <a:rPr lang="en-US" dirty="0" smtClean="0"/>
              <a:t>merge</a:t>
            </a:r>
            <a:endParaRPr lang="en-US" dirty="0"/>
          </a:p>
          <a:p>
            <a:pPr lvl="1"/>
            <a:r>
              <a:rPr lang="en-US" dirty="0" smtClean="0"/>
              <a:t>filter</a:t>
            </a: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44" y="3993261"/>
            <a:ext cx="8211312" cy="21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8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lapply</a:t>
            </a:r>
            <a:r>
              <a:rPr lang="en-US" dirty="0" smtClean="0"/>
              <a:t>() function in R applies a function of your choosing to a list or vector and returns a list of results.</a:t>
            </a:r>
          </a:p>
          <a:p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lapply</a:t>
            </a:r>
            <a:r>
              <a:rPr lang="en-US" dirty="0" smtClean="0"/>
              <a:t> functio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602" b="2745"/>
          <a:stretch/>
        </p:blipFill>
        <p:spPr>
          <a:xfrm>
            <a:off x="1169563" y="2639282"/>
            <a:ext cx="6804873" cy="30573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12" b="2327"/>
          <a:stretch/>
        </p:blipFill>
        <p:spPr>
          <a:xfrm>
            <a:off x="1169563" y="3781118"/>
            <a:ext cx="6831866" cy="5210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563" y="5138281"/>
            <a:ext cx="6818369" cy="533474"/>
          </a:xfrm>
          <a:prstGeom prst="rect">
            <a:avLst/>
          </a:prstGeom>
        </p:spPr>
      </p:pic>
      <p:sp>
        <p:nvSpPr>
          <p:cNvPr id="16" name="Down Arrow 15"/>
          <p:cNvSpPr/>
          <p:nvPr/>
        </p:nvSpPr>
        <p:spPr bwMode="auto">
          <a:xfrm>
            <a:off x="4359727" y="3215781"/>
            <a:ext cx="424543" cy="424543"/>
          </a:xfrm>
          <a:prstGeom prst="downArrow">
            <a:avLst/>
          </a:prstGeom>
          <a:solidFill>
            <a:schemeClr val="accent3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4373224" y="4572944"/>
            <a:ext cx="424543" cy="424543"/>
          </a:xfrm>
          <a:prstGeom prst="downArrow">
            <a:avLst/>
          </a:prstGeom>
          <a:solidFill>
            <a:schemeClr val="accent3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39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merge function allows the user to join together two data frames horizontally by key variables </a:t>
            </a:r>
          </a:p>
          <a:p>
            <a:pPr lvl="1"/>
            <a:r>
              <a:rPr lang="en-US" dirty="0" smtClean="0"/>
              <a:t>The merge function will only include rows with matching information in the key variable column in the resulting data frame</a:t>
            </a:r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rging Data Frames</a:t>
            </a:r>
            <a:endParaRPr lang="en-US" dirty="0"/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086242"/>
              </p:ext>
            </p:extLst>
          </p:nvPr>
        </p:nvGraphicFramePr>
        <p:xfrm>
          <a:off x="466344" y="4175132"/>
          <a:ext cx="2048256" cy="17919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2752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B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306436"/>
                  </a:ext>
                </a:extLst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912260"/>
              </p:ext>
            </p:extLst>
          </p:nvPr>
        </p:nvGraphicFramePr>
        <p:xfrm>
          <a:off x="2957210" y="4173015"/>
          <a:ext cx="2048256" cy="17919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82752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68275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C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306436"/>
                  </a:ext>
                </a:extLst>
              </a:tr>
            </a:tbl>
          </a:graphicData>
        </a:graphic>
      </p:graphicFrame>
      <p:sp>
        <p:nvSpPr>
          <p:cNvPr id="25" name="Plus 24"/>
          <p:cNvSpPr/>
          <p:nvPr/>
        </p:nvSpPr>
        <p:spPr bwMode="auto">
          <a:xfrm>
            <a:off x="2556198" y="4917325"/>
            <a:ext cx="359228" cy="303288"/>
          </a:xfrm>
          <a:prstGeom prst="mathPlus">
            <a:avLst/>
          </a:prstGeom>
          <a:solidFill>
            <a:schemeClr val="tx1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66344" y="4175132"/>
            <a:ext cx="2048069" cy="1100963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957023" y="5220613"/>
            <a:ext cx="2048256" cy="733964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661314"/>
              </p:ext>
            </p:extLst>
          </p:nvPr>
        </p:nvGraphicFramePr>
        <p:xfrm>
          <a:off x="6287896" y="4539957"/>
          <a:ext cx="2389760" cy="116174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97440">
                  <a:extLst>
                    <a:ext uri="{9D8B030D-6E8A-4147-A177-3AD203B41FA5}">
                      <a16:colId xmlns:a16="http://schemas.microsoft.com/office/drawing/2014/main" val="1370667847"/>
                    </a:ext>
                  </a:extLst>
                </a:gridCol>
                <a:gridCol w="609478">
                  <a:extLst>
                    <a:ext uri="{9D8B030D-6E8A-4147-A177-3AD203B41FA5}">
                      <a16:colId xmlns:a16="http://schemas.microsoft.com/office/drawing/2014/main" val="891980712"/>
                    </a:ext>
                  </a:extLst>
                </a:gridCol>
                <a:gridCol w="585402">
                  <a:extLst>
                    <a:ext uri="{9D8B030D-6E8A-4147-A177-3AD203B41FA5}">
                      <a16:colId xmlns:a16="http://schemas.microsoft.com/office/drawing/2014/main" val="2189965839"/>
                    </a:ext>
                  </a:extLst>
                </a:gridCol>
                <a:gridCol w="597440">
                  <a:extLst>
                    <a:ext uri="{9D8B030D-6E8A-4147-A177-3AD203B41FA5}">
                      <a16:colId xmlns:a16="http://schemas.microsoft.com/office/drawing/2014/main" val="4083360963"/>
                    </a:ext>
                  </a:extLst>
                </a:gridCol>
              </a:tblGrid>
              <a:tr h="38281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ow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</a:t>
                      </a:r>
                      <a:r>
                        <a:rPr lang="en-US" sz="1200" baseline="0" dirty="0" smtClean="0"/>
                        <a:t> 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 A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603473"/>
                  </a:ext>
                </a:extLst>
              </a:tr>
              <a:tr h="70454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19737"/>
                  </a:ext>
                </a:extLst>
              </a:tr>
            </a:tbl>
          </a:graphicData>
        </a:graphic>
      </p:graphicFrame>
      <p:sp>
        <p:nvSpPr>
          <p:cNvPr id="34" name="Right Arrow 33"/>
          <p:cNvSpPr/>
          <p:nvPr/>
        </p:nvSpPr>
        <p:spPr bwMode="auto">
          <a:xfrm>
            <a:off x="5156825" y="5068969"/>
            <a:ext cx="979714" cy="520096"/>
          </a:xfrm>
          <a:prstGeom prst="rightArrow">
            <a:avLst/>
          </a:prstGeom>
          <a:solidFill>
            <a:srgbClr val="000000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100639" y="4604664"/>
            <a:ext cx="103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</a:t>
            </a:r>
            <a:r>
              <a:rPr lang="en-US" dirty="0" smtClean="0"/>
              <a:t>erge()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466344" y="3757110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Frame 1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957210" y="3754993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Frame 2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6472391" y="3754993"/>
            <a:ext cx="2048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ult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466344" y="3297404"/>
            <a:ext cx="821131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Code Example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b="1" dirty="0"/>
              <a:t>merge(x = Data Frame 1, y = Data Frame 2, by = “Var B</a:t>
            </a:r>
            <a:r>
              <a:rPr lang="en-US" b="1" dirty="0" smtClean="0"/>
              <a:t>”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6719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filter function is used to select only certain rows of a data frame based on user specified criteria. </a:t>
            </a:r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the filter function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103679"/>
              </p:ext>
            </p:extLst>
          </p:nvPr>
        </p:nvGraphicFramePr>
        <p:xfrm>
          <a:off x="466344" y="3683000"/>
          <a:ext cx="2913670" cy="1901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2942">
                  <a:extLst>
                    <a:ext uri="{9D8B030D-6E8A-4147-A177-3AD203B41FA5}">
                      <a16:colId xmlns:a16="http://schemas.microsoft.com/office/drawing/2014/main" val="3335755807"/>
                    </a:ext>
                  </a:extLst>
                </a:gridCol>
                <a:gridCol w="930728">
                  <a:extLst>
                    <a:ext uri="{9D8B030D-6E8A-4147-A177-3AD203B41FA5}">
                      <a16:colId xmlns:a16="http://schemas.microsoft.com/office/drawing/2014/main" val="1541974432"/>
                    </a:ext>
                  </a:extLst>
                </a:gridCol>
              </a:tblGrid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cientific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474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ede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lbopictu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2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774919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625695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ede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egypti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56903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06605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923039"/>
              </p:ext>
            </p:extLst>
          </p:nvPr>
        </p:nvGraphicFramePr>
        <p:xfrm>
          <a:off x="5763986" y="4063274"/>
          <a:ext cx="2913670" cy="114082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982942">
                  <a:extLst>
                    <a:ext uri="{9D8B030D-6E8A-4147-A177-3AD203B41FA5}">
                      <a16:colId xmlns:a16="http://schemas.microsoft.com/office/drawing/2014/main" val="3335755807"/>
                    </a:ext>
                  </a:extLst>
                </a:gridCol>
                <a:gridCol w="930728">
                  <a:extLst>
                    <a:ext uri="{9D8B030D-6E8A-4147-A177-3AD203B41FA5}">
                      <a16:colId xmlns:a16="http://schemas.microsoft.com/office/drawing/2014/main" val="1541974432"/>
                    </a:ext>
                  </a:extLst>
                </a:gridCol>
              </a:tblGrid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cientific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244744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625695"/>
                  </a:ext>
                </a:extLst>
              </a:tr>
              <a:tr h="380274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lex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arsalis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06605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466344" y="4408714"/>
            <a:ext cx="2913670" cy="424543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71785" y="5197929"/>
            <a:ext cx="2913670" cy="424543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4082143" y="4573209"/>
            <a:ext cx="979714" cy="520096"/>
          </a:xfrm>
          <a:prstGeom prst="rightArrow">
            <a:avLst/>
          </a:prstGeom>
          <a:solidFill>
            <a:srgbClr val="000000"/>
          </a:soli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20885" y="4180017"/>
            <a:ext cx="1502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</a:t>
            </a:r>
            <a:r>
              <a:rPr lang="en-US" dirty="0" err="1" smtClean="0"/>
              <a:t>plyr</a:t>
            </a:r>
            <a:r>
              <a:rPr lang="en-US" dirty="0" smtClean="0"/>
              <a:t>::filter()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66343" y="2665639"/>
            <a:ext cx="821131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Code Example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plyr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:filter(Starting Data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rame$scientificName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==“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ulex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arsalis</a:t>
            </a:r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”)</a:t>
            </a:r>
            <a:endParaRPr lang="en-US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66343" y="3198605"/>
            <a:ext cx="2913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arting Data Fram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763984" y="3198605"/>
            <a:ext cx="2913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u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0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mitted Data:</a:t>
            </a:r>
          </a:p>
          <a:p>
            <a:pPr lvl="1"/>
            <a:r>
              <a:rPr lang="en-US" dirty="0" smtClean="0"/>
              <a:t>Years 2012, 2013, and 2015 have been omitted </a:t>
            </a:r>
          </a:p>
          <a:p>
            <a:pPr lvl="1"/>
            <a:r>
              <a:rPr lang="en-US" smtClean="0"/>
              <a:t>Any </a:t>
            </a:r>
            <a:r>
              <a:rPr lang="en-US" dirty="0" smtClean="0"/>
              <a:t>observations with missing plot identifications have been omitted</a:t>
            </a:r>
          </a:p>
          <a:p>
            <a:pPr lvl="1"/>
            <a:r>
              <a:rPr lang="en-US" dirty="0" smtClean="0"/>
              <a:t>Observations where species or subspecies was indeterminate were omitted</a:t>
            </a:r>
            <a:endParaRPr lang="en-US" dirty="0"/>
          </a:p>
          <a:p>
            <a:r>
              <a:rPr lang="en-US" dirty="0" smtClean="0"/>
              <a:t>Missing Data:</a:t>
            </a:r>
          </a:p>
          <a:p>
            <a:pPr lvl="1"/>
            <a:r>
              <a:rPr lang="en-US" dirty="0" smtClean="0"/>
              <a:t>4530 observations in our data do not have location information</a:t>
            </a:r>
          </a:p>
          <a:p>
            <a:pPr lvl="1"/>
            <a:r>
              <a:rPr lang="en-US" dirty="0" smtClean="0"/>
              <a:t>A large number of observations are missing from temperature and precipitation data</a:t>
            </a:r>
          </a:p>
          <a:p>
            <a:pPr lvl="1"/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mitted and Missing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613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Add data classification or delete this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gnette 1: Species Richnes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666" y="1383948"/>
            <a:ext cx="6666667" cy="4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95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_PPT_NEON-Battelle" id="{728C444B-081B-1946-8528-62FABB512F83}" vid="{1022DF4F-7E13-134B-971D-B6F6391E17E7}"/>
    </a:ext>
  </a:extLst>
</a:theme>
</file>

<file path=ppt/theme/theme2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8AA6CA7D000842A944B936E87AEFB6" ma:contentTypeVersion="4" ma:contentTypeDescription="Create a new document." ma:contentTypeScope="" ma:versionID="41549b0553b68974b8751fb5fc71a603">
  <xsd:schema xmlns:xsd="http://www.w3.org/2001/XMLSchema" xmlns:xs="http://www.w3.org/2001/XMLSchema" xmlns:p="http://schemas.microsoft.com/office/2006/metadata/properties" xmlns:ns1="http://schemas.microsoft.com/sharepoint/v3" xmlns:ns2="42d4191b-ef87-40f8-a2ec-45b7baf1e568" xmlns:ns3="0bbea745-dd87-4d8f-af52-8a14390709bb" targetNamespace="http://schemas.microsoft.com/office/2006/metadata/properties" ma:root="true" ma:fieldsID="e932d9f115ef7cab2813549fffa131dd" ns1:_="" ns2:_="" ns3:_="">
    <xsd:import namespace="http://schemas.microsoft.com/sharepoint/v3"/>
    <xsd:import namespace="42d4191b-ef87-40f8-a2ec-45b7baf1e568"/>
    <xsd:import namespace="0bbea745-dd87-4d8f-af52-8a14390709b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4191b-ef87-40f8-a2ec-45b7baf1e56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bea745-dd87-4d8f-af52-8a14390709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PublishingExpiration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761D379-E87B-4DA9-96C4-499F0D311E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6707A4-B3A0-486D-BBF3-2186D90D63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2d4191b-ef87-40f8-a2ec-45b7baf1e568"/>
    <ds:schemaRef ds:uri="0bbea745-dd87-4d8f-af52-8a14390709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FDE722-280F-4BD7-A9F5-DA157BE8E932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PPT_NEON-Battelle</Template>
  <TotalTime>1731</TotalTime>
  <Words>905</Words>
  <Application>Microsoft Office PowerPoint</Application>
  <PresentationFormat>On-screen Show (4:3)</PresentationFormat>
  <Paragraphs>152</Paragraphs>
  <Slides>2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Wingdings</vt:lpstr>
      <vt:lpstr>Default Theme</vt:lpstr>
      <vt:lpstr>think-cell Slide</vt:lpstr>
      <vt:lpstr>SOME TITLE OMG</vt:lpstr>
      <vt:lpstr>Why Study Mosquitoes?</vt:lpstr>
      <vt:lpstr>Goals and Project Components</vt:lpstr>
      <vt:lpstr>Data Cleaning Methods</vt:lpstr>
      <vt:lpstr>The lapply function</vt:lpstr>
      <vt:lpstr>Merging Data Frames</vt:lpstr>
      <vt:lpstr>Using the filter function</vt:lpstr>
      <vt:lpstr>Omitted and Missing Data</vt:lpstr>
      <vt:lpstr>Vignette 1: Species Richness</vt:lpstr>
      <vt:lpstr>Vignette 1: Species Richness</vt:lpstr>
      <vt:lpstr>Vignette 1: Species Richness</vt:lpstr>
      <vt:lpstr>Vignette 1: Species Richness</vt:lpstr>
      <vt:lpstr>Vignette 2: Culex tarsalis</vt:lpstr>
      <vt:lpstr>Vignette 2: Culex tarsalis</vt:lpstr>
      <vt:lpstr>Vignette 2: Culex tarsalis</vt:lpstr>
      <vt:lpstr>Vignette 2: Culex tarsalis</vt:lpstr>
      <vt:lpstr>Bibliography</vt:lpstr>
      <vt:lpstr>Image Sources</vt:lpstr>
      <vt:lpstr>Acknowledgements </vt:lpstr>
      <vt:lpstr>PowerPoint Presentation</vt:lpstr>
    </vt:vector>
  </TitlesOfParts>
  <Company>Battelle Ecolo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Roiger</dc:creator>
  <cp:lastModifiedBy>Charlotte Roiger</cp:lastModifiedBy>
  <cp:revision>70</cp:revision>
  <dcterms:created xsi:type="dcterms:W3CDTF">2017-07-05T14:37:49Z</dcterms:created>
  <dcterms:modified xsi:type="dcterms:W3CDTF">2017-07-06T19:3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18AA6CA7D000842A944B936E87AEFB6</vt:lpwstr>
  </property>
</Properties>
</file>